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4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6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7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8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7" r:id="rId2"/>
    <p:sldId id="276" r:id="rId3"/>
    <p:sldId id="262" r:id="rId4"/>
    <p:sldId id="268" r:id="rId5"/>
    <p:sldId id="269" r:id="rId6"/>
    <p:sldId id="270" r:id="rId7"/>
    <p:sldId id="264" r:id="rId8"/>
    <p:sldId id="272" r:id="rId9"/>
    <p:sldId id="258" r:id="rId10"/>
    <p:sldId id="271" r:id="rId11"/>
    <p:sldId id="275" r:id="rId12"/>
    <p:sldId id="265" r:id="rId13"/>
    <p:sldId id="260" r:id="rId14"/>
    <p:sldId id="266" r:id="rId15"/>
    <p:sldId id="267" r:id="rId16"/>
    <p:sldId id="26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3" autoAdjust="0"/>
    <p:restoredTop sz="94719"/>
  </p:normalViewPr>
  <p:slideViewPr>
    <p:cSldViewPr snapToGrid="0">
      <p:cViewPr>
        <p:scale>
          <a:sx n="93" d="100"/>
          <a:sy n="93" d="100"/>
        </p:scale>
        <p:origin x="2296" y="14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C1F448F-86F9-4731-A83D-96FCA7389CBB}" type="datetimeFigureOut">
              <a:rPr lang="en-US" smtClean="0"/>
              <a:pPr/>
              <a:t>7/17/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12B4F69-D1A4-4078-9861-7D66613792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654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695ADA0-1B34-F092-92E1-161E4E16C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239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0BBCA6-C6E5-4069-34F7-1690FDD11D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B19A61-B2E2-A9BE-7D68-381E4E267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6610D5-99BE-A1D9-50E7-537FBF9D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700AC-6BA5-5B4B-A57F-CF46098F0A44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387153-C0B2-B7BD-2616-FBD7549F7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5C970-D0D2-9C09-2F26-8A7BD9F82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4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365E6C-3202-4D5C-1F92-DB0377358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2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0DCE9A-46A2-F98E-5736-FB07F3540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5D4C1D-8EB7-0E7D-2652-61290CAEE5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77265C-FCA3-46BF-9CC2-7A3E20F48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6045FE6-B891-A84D-95EB-43B5DFF98628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A52405-206C-E426-95BF-A494BF743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D419A-9332-EF01-CF51-4DA8023D2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17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7F8E016-609A-7099-466A-F34E2ADF3C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4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3BDC0B5-52A6-362B-911E-1767104510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917163-05E7-7DA9-8AEB-1F2A5B422C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B28B61-86F7-C962-0449-FEA9EE064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A5EED4-44BA-284E-AF5A-D5032D446258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7FB81F-F188-EC94-CD1E-4D8F3A50E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2C7B9-AD53-A7FE-96E6-4D4521048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81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38ED86-F604-0008-F43B-3A74FF9F9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89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338AF6-69B5-DEF4-C001-B8DCE6683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7FC754-6632-EC40-75A3-A0F3D3DA2B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6F9DBF-23C5-C18B-6E72-854C83EF0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F90753F-3806-F643-9BBD-3E93CDB7800D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760A54-C8A7-CEAC-B2B6-8C043D4A4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12038D-9A64-FFB4-B830-AFA3BF9C3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332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8A56CB8-3934-5C83-8FF2-7CEE0D247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9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D8436F-F20A-450E-C3B5-73F83A4F6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39FDAD-3944-0BEE-5B86-04F8892199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F5B4AA-A7AB-04C5-038C-6963567A12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1D8F7ED-BF7F-9A40-99C4-419CF0AE8A1D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6E7B3-0CE3-9A9A-8915-FF7BF6D46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63EC1D-E0FC-122B-6054-0D7EAC1D82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415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5EECDF3-A87B-9E28-F736-679084617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59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C7914C-08BC-656D-A85B-325762EF3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DD265-06F5-310C-6A7F-7631F10D12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56F8A2-2E2B-88B0-D6BC-32A91377D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9C74B4-F996-8430-8A9C-619564D0A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8CC2F80-FF53-9043-8A13-11632E9C853B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6730B-7AAC-12CE-4CB6-220011DEC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66787C-CD05-55F4-932C-C38C86100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65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AA47A5C-963F-D1DE-D2F7-E07DC6AE7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34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F7EAA4-934B-1B9C-21DB-B223237A4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2799E3-E1DB-DF8F-73CF-0BE0267C8F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5605E7-CBA8-9B98-C32A-EBA4D5FEF8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FF1CE9-8378-015E-5979-20308F32DD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7C18E-E3A4-7811-6810-43F777E3C0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B896C-23E1-F6CC-EA9D-62DD068B2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6B30C66-65B8-1249-B7E0-F76904074064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8FE2-2F0A-324E-05B6-ACC23DE39C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9D2FE1-FA7A-EBC7-C7D9-3D009C14F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017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AAED76-E1CC-D6E9-FA9A-90A0D0F70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34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1AF6A-2E33-FA57-5889-A62DD65BC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2F11A4-7101-B7AF-55CF-31361FD41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986091E-874E-2D48-B76E-3D1E0B2F326C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BB2524-F169-4AA2-AA5D-FFE1A7FD3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720AD-8359-E13B-91CB-1E8E380E7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893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33CD53-3C40-AC87-C939-92F102CC4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019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CDB22C-F793-0643-02D7-3DBB742AF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C11F064-4616-EB4C-B2C2-5345DB7AA4B6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FCA139-F131-793D-72C3-5FB50B63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3088E0-F5D5-22B3-014F-3C1B17FCB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005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B4F67-2900-E1AA-369D-D1AFD066C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05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A9F7B3-FDC4-183F-515B-679D58939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29EE0-BBC4-0FC4-288E-E6C84C679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2E361-4F91-A4D8-B518-E9A9832C5E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F42AEA-CB87-B64F-511A-B849F50AA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30672E4-004C-3345-8F8F-BA0EDA311A42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BF69C-62E4-CC5C-82B6-8FEC1334B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6EFFB-7DE4-E2E5-ECDB-AA2BFAB64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25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7F8A899-FA1A-6B50-D77E-469C3E2DC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842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19E476-14C5-2B56-8C6E-9837EAB91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74B907-1C19-984F-E56F-917BFDCFA8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7DD1-E7CC-651D-A4E1-A69A63F135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6FA8FE-0B03-15BD-8A96-0D29AD8DC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208562E-5C9A-6049-9AF7-4240CC008981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2DF5B2-3E50-7DF2-52A1-08694B959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4DCE12-F5ED-24E7-37BC-84586F5D2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244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4D98946-3384-60C8-122C-05A66DB4C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413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01EBB0-F2B7-422C-6A98-233C483C0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EA378C-2B23-9C18-7851-2C2AA9135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18DC12-185E-B2B9-6675-EF7377721E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36C6444-032D-BC42-A802-4E9AF7E19007}" type="datetime1">
              <a:rPr lang="de-DE" smtClean="0"/>
              <a:t>17.07.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CDF23C-669E-ABAC-5240-9DF0CBC7D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27B6A-BA05-8337-DAE6-2A92C972F0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11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oleObject" Target="../embeddings/oleObject14.bin"/><Relationship Id="rId26" Type="http://schemas.openxmlformats.org/officeDocument/2006/relationships/image" Target="../media/image49.png"/><Relationship Id="rId3" Type="http://schemas.openxmlformats.org/officeDocument/2006/relationships/tags" Target="../tags/tag69.xml"/><Relationship Id="rId21" Type="http://schemas.openxmlformats.org/officeDocument/2006/relationships/image" Target="../media/image23.png"/><Relationship Id="rId34" Type="http://schemas.openxmlformats.org/officeDocument/2006/relationships/image" Target="../media/image24.png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notesSlide" Target="../notesSlides/notesSlide7.xml"/><Relationship Id="rId25" Type="http://schemas.openxmlformats.org/officeDocument/2006/relationships/image" Target="../media/image20.png"/><Relationship Id="rId33" Type="http://schemas.openxmlformats.org/officeDocument/2006/relationships/image" Target="../media/image55.png"/><Relationship Id="rId2" Type="http://schemas.openxmlformats.org/officeDocument/2006/relationships/tags" Target="../tags/tag68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6.png"/><Relationship Id="rId29" Type="http://schemas.openxmlformats.org/officeDocument/2006/relationships/image" Target="../media/image51.png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image" Target="../media/image21.png"/><Relationship Id="rId32" Type="http://schemas.openxmlformats.org/officeDocument/2006/relationships/image" Target="../media/image54.png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image" Target="../media/image30.png"/><Relationship Id="rId28" Type="http://schemas.openxmlformats.org/officeDocument/2006/relationships/image" Target="../media/image50.png"/><Relationship Id="rId10" Type="http://schemas.openxmlformats.org/officeDocument/2006/relationships/tags" Target="../tags/tag76.xml"/><Relationship Id="rId19" Type="http://schemas.openxmlformats.org/officeDocument/2006/relationships/image" Target="../media/image1.emf"/><Relationship Id="rId31" Type="http://schemas.openxmlformats.org/officeDocument/2006/relationships/image" Target="../media/image53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image" Target="../media/image48.png"/><Relationship Id="rId27" Type="http://schemas.openxmlformats.org/officeDocument/2006/relationships/image" Target="../media/image27.png"/><Relationship Id="rId30" Type="http://schemas.openxmlformats.org/officeDocument/2006/relationships/image" Target="../media/image52.png"/><Relationship Id="rId8" Type="http://schemas.openxmlformats.org/officeDocument/2006/relationships/tags" Target="../tags/tag74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image" Target="../media/image30.png"/><Relationship Id="rId39" Type="http://schemas.openxmlformats.org/officeDocument/2006/relationships/image" Target="../media/image66.png"/><Relationship Id="rId21" Type="http://schemas.openxmlformats.org/officeDocument/2006/relationships/tags" Target="../tags/tag102.xml"/><Relationship Id="rId34" Type="http://schemas.openxmlformats.org/officeDocument/2006/relationships/image" Target="../media/image61.png"/><Relationship Id="rId42" Type="http://schemas.openxmlformats.org/officeDocument/2006/relationships/image" Target="../media/image69.png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image" Target="../media/image57.png"/><Relationship Id="rId41" Type="http://schemas.openxmlformats.org/officeDocument/2006/relationships/image" Target="../media/image68.pn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oleObject" Target="../embeddings/oleObject14.bin"/><Relationship Id="rId32" Type="http://schemas.openxmlformats.org/officeDocument/2006/relationships/image" Target="../media/image60.png"/><Relationship Id="rId37" Type="http://schemas.openxmlformats.org/officeDocument/2006/relationships/image" Target="../media/image64.png"/><Relationship Id="rId40" Type="http://schemas.openxmlformats.org/officeDocument/2006/relationships/image" Target="../media/image67.png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notesSlide" Target="../notesSlides/notesSlide8.xml"/><Relationship Id="rId28" Type="http://schemas.openxmlformats.org/officeDocument/2006/relationships/image" Target="../media/image56.png"/><Relationship Id="rId36" Type="http://schemas.openxmlformats.org/officeDocument/2006/relationships/image" Target="../media/image63.png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image" Target="../media/image59.png"/><Relationship Id="rId44" Type="http://schemas.openxmlformats.org/officeDocument/2006/relationships/image" Target="../media/image71.pn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36.png"/><Relationship Id="rId30" Type="http://schemas.openxmlformats.org/officeDocument/2006/relationships/image" Target="../media/image58.png"/><Relationship Id="rId35" Type="http://schemas.openxmlformats.org/officeDocument/2006/relationships/image" Target="../media/image62.png"/><Relationship Id="rId43" Type="http://schemas.openxmlformats.org/officeDocument/2006/relationships/image" Target="../media/image70.png"/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image" Target="../media/image1.emf"/><Relationship Id="rId33" Type="http://schemas.openxmlformats.org/officeDocument/2006/relationships/image" Target="../media/image20.png"/><Relationship Id="rId38" Type="http://schemas.openxmlformats.org/officeDocument/2006/relationships/image" Target="../media/image6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3.emf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7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Relationship Id="rId6" Type="http://schemas.openxmlformats.org/officeDocument/2006/relationships/hyperlink" Target="https://doi.org/10.1103/PhysRevB.102.035147" TargetMode="External"/><Relationship Id="rId5" Type="http://schemas.openxmlformats.org/officeDocument/2006/relationships/hyperlink" Target="https://doi.org/10.1103/PhysRevX.8.031082" TargetMode="Externa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oleObject" Target="../embeddings/oleObject14.bin"/><Relationship Id="rId18" Type="http://schemas.openxmlformats.org/officeDocument/2006/relationships/image" Target="../media/image8.png"/><Relationship Id="rId3" Type="http://schemas.openxmlformats.org/officeDocument/2006/relationships/tags" Target="../tags/tag16.xml"/><Relationship Id="rId21" Type="http://schemas.openxmlformats.org/officeDocument/2006/relationships/image" Target="../media/image11.png"/><Relationship Id="rId7" Type="http://schemas.openxmlformats.org/officeDocument/2006/relationships/tags" Target="../tags/tag20.xml"/><Relationship Id="rId12" Type="http://schemas.openxmlformats.org/officeDocument/2006/relationships/notesSlide" Target="../notesSlides/notesSlide2.xml"/><Relationship Id="rId17" Type="http://schemas.openxmlformats.org/officeDocument/2006/relationships/image" Target="../media/image7.png"/><Relationship Id="rId2" Type="http://schemas.openxmlformats.org/officeDocument/2006/relationships/tags" Target="../tags/tag15.xml"/><Relationship Id="rId16" Type="http://schemas.openxmlformats.org/officeDocument/2006/relationships/image" Target="../media/image6.png"/><Relationship Id="rId20" Type="http://schemas.openxmlformats.org/officeDocument/2006/relationships/image" Target="../media/image10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8.xml"/><Relationship Id="rId15" Type="http://schemas.openxmlformats.org/officeDocument/2006/relationships/image" Target="../media/image5.png"/><Relationship Id="rId23" Type="http://schemas.openxmlformats.org/officeDocument/2006/relationships/image" Target="../media/image13.png"/><Relationship Id="rId10" Type="http://schemas.openxmlformats.org/officeDocument/2006/relationships/tags" Target="../tags/tag23.xml"/><Relationship Id="rId19" Type="http://schemas.openxmlformats.org/officeDocument/2006/relationships/image" Target="../media/image9.pn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1.emf"/><Relationship Id="rId22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16.png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5.png"/><Relationship Id="rId2" Type="http://schemas.openxmlformats.org/officeDocument/2006/relationships/tags" Target="../tags/tag25.xml"/><Relationship Id="rId16" Type="http://schemas.openxmlformats.org/officeDocument/2006/relationships/image" Target="../media/image18.png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14.png"/><Relationship Id="rId5" Type="http://schemas.openxmlformats.org/officeDocument/2006/relationships/tags" Target="../tags/tag28.xml"/><Relationship Id="rId15" Type="http://schemas.openxmlformats.org/officeDocument/2006/relationships/image" Target="../media/image17.png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4.bin"/><Relationship Id="rId1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image" Target="../media/image21.png"/><Relationship Id="rId39" Type="http://schemas.openxmlformats.org/officeDocument/2006/relationships/image" Target="../media/image32.png"/><Relationship Id="rId21" Type="http://schemas.openxmlformats.org/officeDocument/2006/relationships/notesSlide" Target="../notesSlides/notesSlide4.xml"/><Relationship Id="rId34" Type="http://schemas.openxmlformats.org/officeDocument/2006/relationships/image" Target="../media/image18.png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image" Target="../media/image20.png"/><Relationship Id="rId33" Type="http://schemas.openxmlformats.org/officeDocument/2006/relationships/image" Target="../media/image27.png"/><Relationship Id="rId38" Type="http://schemas.openxmlformats.org/officeDocument/2006/relationships/image" Target="../media/image31.png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slideLayout" Target="../slideLayouts/slideLayout2.xml"/><Relationship Id="rId29" Type="http://schemas.openxmlformats.org/officeDocument/2006/relationships/image" Target="../media/image24.png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image" Target="../media/image19.png"/><Relationship Id="rId32" Type="http://schemas.openxmlformats.org/officeDocument/2006/relationships/image" Target="../media/image6.png"/><Relationship Id="rId37" Type="http://schemas.openxmlformats.org/officeDocument/2006/relationships/image" Target="../media/image30.png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image" Target="../media/image1.emf"/><Relationship Id="rId28" Type="http://schemas.openxmlformats.org/officeDocument/2006/relationships/image" Target="../media/image23.png"/><Relationship Id="rId36" Type="http://schemas.openxmlformats.org/officeDocument/2006/relationships/image" Target="../media/image29.png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image" Target="../media/image26.png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oleObject" Target="../embeddings/oleObject14.bin"/><Relationship Id="rId27" Type="http://schemas.openxmlformats.org/officeDocument/2006/relationships/image" Target="../media/image22.png"/><Relationship Id="rId30" Type="http://schemas.openxmlformats.org/officeDocument/2006/relationships/image" Target="../media/image25.png"/><Relationship Id="rId35" Type="http://schemas.openxmlformats.org/officeDocument/2006/relationships/image" Target="../media/image28.png"/><Relationship Id="rId8" Type="http://schemas.openxmlformats.org/officeDocument/2006/relationships/tags" Target="../tags/tag37.xml"/><Relationship Id="rId3" Type="http://schemas.openxmlformats.org/officeDocument/2006/relationships/tags" Target="../tags/tag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oleObject" Target="../embeddings/oleObject14.bin"/><Relationship Id="rId18" Type="http://schemas.openxmlformats.org/officeDocument/2006/relationships/image" Target="../media/image34.png"/><Relationship Id="rId3" Type="http://schemas.openxmlformats.org/officeDocument/2006/relationships/tags" Target="../tags/tag51.xml"/><Relationship Id="rId21" Type="http://schemas.openxmlformats.org/officeDocument/2006/relationships/image" Target="../media/image37.png"/><Relationship Id="rId7" Type="http://schemas.openxmlformats.org/officeDocument/2006/relationships/tags" Target="../tags/tag55.xml"/><Relationship Id="rId12" Type="http://schemas.openxmlformats.org/officeDocument/2006/relationships/notesSlide" Target="../notesSlides/notesSlide5.xml"/><Relationship Id="rId17" Type="http://schemas.openxmlformats.org/officeDocument/2006/relationships/image" Target="../media/image33.png"/><Relationship Id="rId25" Type="http://schemas.openxmlformats.org/officeDocument/2006/relationships/image" Target="../media/image40.png"/><Relationship Id="rId2" Type="http://schemas.openxmlformats.org/officeDocument/2006/relationships/tags" Target="../tags/tag50.xml"/><Relationship Id="rId16" Type="http://schemas.openxmlformats.org/officeDocument/2006/relationships/image" Target="../media/image26.png"/><Relationship Id="rId20" Type="http://schemas.openxmlformats.org/officeDocument/2006/relationships/image" Target="../media/image36.png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39.png"/><Relationship Id="rId5" Type="http://schemas.openxmlformats.org/officeDocument/2006/relationships/tags" Target="../tags/tag53.xml"/><Relationship Id="rId15" Type="http://schemas.openxmlformats.org/officeDocument/2006/relationships/image" Target="../media/image5.png"/><Relationship Id="rId23" Type="http://schemas.openxmlformats.org/officeDocument/2006/relationships/image" Target="../media/image21.png"/><Relationship Id="rId10" Type="http://schemas.openxmlformats.org/officeDocument/2006/relationships/tags" Target="../tags/tag58.xml"/><Relationship Id="rId19" Type="http://schemas.openxmlformats.org/officeDocument/2006/relationships/image" Target="../media/image35.png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image" Target="../media/image1.emf"/><Relationship Id="rId22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image" Target="../media/image41.png"/><Relationship Id="rId18" Type="http://schemas.openxmlformats.org/officeDocument/2006/relationships/image" Target="../media/image45.png"/><Relationship Id="rId3" Type="http://schemas.openxmlformats.org/officeDocument/2006/relationships/tags" Target="../tags/tag61.xml"/><Relationship Id="rId21" Type="http://schemas.openxmlformats.org/officeDocument/2006/relationships/image" Target="../media/image47.png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17" Type="http://schemas.openxmlformats.org/officeDocument/2006/relationships/image" Target="../media/image44.png"/><Relationship Id="rId2" Type="http://schemas.openxmlformats.org/officeDocument/2006/relationships/tags" Target="../tags/tag60.xml"/><Relationship Id="rId16" Type="http://schemas.openxmlformats.org/officeDocument/2006/relationships/image" Target="../media/image10.png"/><Relationship Id="rId20" Type="http://schemas.openxmlformats.org/officeDocument/2006/relationships/image" Target="../media/image46.png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63.xml"/><Relationship Id="rId15" Type="http://schemas.openxmlformats.org/officeDocument/2006/relationships/image" Target="../media/image43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33.png"/><Relationship Id="rId4" Type="http://schemas.openxmlformats.org/officeDocument/2006/relationships/tags" Target="../tags/tag62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42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6" y="2411425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/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5553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274229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latin typeface="Bahnschrift SemiCondensed" panose="020B0502040204020203" pitchFamily="34" charset="0"/>
              </a:rPr>
              <a:t>The XTRG update</a:t>
            </a:r>
            <a:endParaRPr lang="en-US" sz="3200" noProof="0" dirty="0"/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63391" y="1790621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7104" y="674152"/>
            <a:ext cx="1306982" cy="364134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E63A2F-7971-0CFE-55CF-EF1F68969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807152" y="1803377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177" y="1645368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2729" y="1791802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2976" y="2780992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2015745" y="24882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807152" y="2515591"/>
            <a:ext cx="5943310" cy="15832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8902" y="2497350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9108" y="3213732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7901" y="3402267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6060" y="3660792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69470" y="4383838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97900" y="4433702"/>
            <a:ext cx="8517967" cy="15832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. grows as                   , with                  for the XY 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 err="1">
                <a:latin typeface="Bahnschrift SemiCondensed" panose="020B0502040204020203" pitchFamily="34" charset="0"/>
              </a:rPr>
              <a:t>onential</a:t>
            </a:r>
            <a:r>
              <a:rPr lang="en-US" sz="2000" dirty="0">
                <a:latin typeface="Bahnschrift SemiCondensed" panose="020B0502040204020203" pitchFamily="34" charset="0"/>
              </a:rPr>
              <a:t>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1949" y="4461813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498" y="4500421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5145" y="482380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61" y="4768340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0461" y="5176337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538" y="5905569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48587" y="5829345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727363" y="586301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with bond dim.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4514" y="5181502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1494" y="5541735"/>
            <a:ext cx="2702973" cy="105850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7274" y="5541735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7274" y="6036083"/>
            <a:ext cx="165371" cy="14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79" imgH="478" progId="TCLayout.ActiveDocument.1">
                  <p:embed/>
                </p:oleObj>
              </mc:Choice>
              <mc:Fallback>
                <p:oleObj name="think-cell Slide" r:id="rId2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96563" y="503457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latin typeface="Bahnschrift SemiCondensed" panose="020B0502040204020203" pitchFamily="34" charset="0"/>
              </a:rPr>
              <a:t>The XTRG update                : Approximating the exact square</a:t>
            </a:r>
            <a:endParaRPr lang="en-US" sz="3200" noProof="0" dirty="0"/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408760" y="12956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olu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15BD69-82AE-BD68-A402-CEC2AA00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389ADE-3A3D-E43F-920B-37D2FAEEEB0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7618" y="427383"/>
            <a:ext cx="1129946" cy="449886"/>
          </a:xfrm>
          <a:prstGeom prst="rect">
            <a:avLst/>
          </a:prstGeom>
        </p:spPr>
      </p:pic>
      <p:sp>
        <p:nvSpPr>
          <p:cNvPr id="8" name="Untertitel 2 1 2">
            <a:extLst>
              <a:ext uri="{FF2B5EF4-FFF2-40B4-BE49-F238E27FC236}">
                <a16:creationId xmlns:a16="http://schemas.microsoft.com/office/drawing/2014/main" id="{251A8825-63CE-61F3-E1E9-9C71B16317CF}"/>
              </a:ext>
            </a:extLst>
          </p:cNvPr>
          <p:cNvSpPr txBox="1">
            <a:spLocks/>
          </p:cNvSpPr>
          <p:nvPr/>
        </p:nvSpPr>
        <p:spPr>
          <a:xfrm>
            <a:off x="-718978" y="626013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3200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7B168E-487E-697A-0CCF-C50CD40FEF4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1285" y="573667"/>
            <a:ext cx="1306982" cy="364134"/>
          </a:xfrm>
          <a:prstGeom prst="rect">
            <a:avLst/>
          </a:prstGeom>
        </p:spPr>
      </p:pic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1564425" y="1317233"/>
            <a:ext cx="6037213" cy="1276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that are represented by MPOs with low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ond dim., i.e.,                 bond dim. of</a:t>
            </a:r>
            <a:endParaRPr lang="en-US" sz="2000" noProof="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6495" y="1275743"/>
            <a:ext cx="743409" cy="29598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29406AC-1294-BC93-74B7-22C4788470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539" y="1295674"/>
            <a:ext cx="2302256" cy="33324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1752" y="1745424"/>
            <a:ext cx="180848" cy="24384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5E2B60D-7194-5E41-06BD-4BC204ED065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2893" y="2075414"/>
            <a:ext cx="1569419" cy="36482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0EAB39E7-A50D-3566-C457-E9615380560C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3311" y="2157708"/>
            <a:ext cx="883920" cy="25400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contraction              !              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  <a:p>
            <a:pPr>
              <a:buFontTx/>
              <a:buChar char="-"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>
              <a:buFontTx/>
              <a:buChar char="-"/>
            </a:pPr>
            <a:r>
              <a:rPr lang="en-US" sz="2000" dirty="0"/>
              <a:t>Left and right </a:t>
            </a:r>
            <a:r>
              <a:rPr lang="en-US" sz="2000" b="1" dirty="0"/>
              <a:t>environments                </a:t>
            </a:r>
            <a:r>
              <a:rPr lang="en-US" sz="2000" dirty="0"/>
              <a:t>to be computed iteratively </a:t>
            </a:r>
          </a:p>
          <a:p>
            <a:pPr>
              <a:buFontTx/>
              <a:buChar char="-"/>
            </a:pPr>
            <a:r>
              <a:rPr lang="en-US" sz="2000" dirty="0"/>
              <a:t>Do appropriate SVD to </a:t>
            </a:r>
            <a:r>
              <a:rPr lang="en-US" sz="2000" b="1" dirty="0"/>
              <a:t>separate</a:t>
            </a:r>
            <a:r>
              <a:rPr lang="en-US" sz="2000" dirty="0"/>
              <a:t>         from            while keeping MPO </a:t>
            </a:r>
            <a:r>
              <a:rPr lang="en-US" sz="2000" b="1" dirty="0"/>
              <a:t>site-canonical</a:t>
            </a:r>
          </a:p>
          <a:p>
            <a:pPr>
              <a:buFontTx/>
              <a:buChar char="-"/>
            </a:pPr>
            <a:r>
              <a:rPr lang="en-US" sz="2000" dirty="0"/>
              <a:t>Proceed with</a:t>
            </a:r>
          </a:p>
          <a:p>
            <a:pPr>
              <a:buFontTx/>
              <a:buChar char="-"/>
            </a:pPr>
            <a:r>
              <a:rPr lang="en-US" sz="2000" b="1" dirty="0"/>
              <a:t>Sweep</a:t>
            </a:r>
            <a:r>
              <a:rPr lang="en-US" sz="2000" dirty="0"/>
              <a:t>   back and forth along the chain until convergence</a:t>
            </a:r>
          </a:p>
          <a:p>
            <a:pPr>
              <a:buFontTx/>
              <a:buChar char="-"/>
            </a:pPr>
            <a:endParaRPr lang="en-US" sz="2000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3591" y="1621854"/>
            <a:ext cx="3196338" cy="70946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952DAE8-F017-11AC-3FFF-00B25299126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9565" y="1808437"/>
            <a:ext cx="650240" cy="24384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6496" y="2085341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6653" y="2085341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036" y="5873539"/>
            <a:ext cx="1288288" cy="254000"/>
          </a:xfrm>
          <a:prstGeom prst="rect">
            <a:avLst/>
          </a:prstGeom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5E4D496C-768A-BEEC-2C38-7D0A37955CF9}"/>
              </a:ext>
            </a:extLst>
          </p:cNvPr>
          <p:cNvCxnSpPr>
            <a:cxnSpLocks/>
          </p:cNvCxnSpPr>
          <p:nvPr/>
        </p:nvCxnSpPr>
        <p:spPr>
          <a:xfrm flipH="1" flipV="1">
            <a:off x="9245869" y="1475385"/>
            <a:ext cx="175296" cy="487400"/>
          </a:xfrm>
          <a:prstGeom prst="straightConnector1">
            <a:avLst/>
          </a:prstGeom>
          <a:ln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509555" y="1196448"/>
            <a:ext cx="11493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low bond dim.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389" y="3079849"/>
            <a:ext cx="731520" cy="237744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273" y="3333087"/>
            <a:ext cx="5328044" cy="1601138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4836" y="5106255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5934" y="3933847"/>
            <a:ext cx="1013968" cy="237744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001" y="5480028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591" y="5481208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675" y="4759429"/>
            <a:ext cx="475488" cy="217424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321" y="4725245"/>
            <a:ext cx="477520" cy="237744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656259" y="4538580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773868" y="4637849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773868" y="4450148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5317300" y="4450148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5317300" y="4641018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389245" y="4553053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666266" y="4528657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783875" y="4627926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783875" y="4440225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8327307" y="4440225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8327307" y="4631095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8399252" y="4543130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9452488" y="4023578"/>
            <a:ext cx="87626" cy="8739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516183" y="3891137"/>
            <a:ext cx="102784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500" dirty="0"/>
              <a:t>= open leg</a:t>
            </a:r>
          </a:p>
        </p:txBody>
      </p:sp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05F08-6C9B-6C7D-0CFC-80A227A7D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3871" y="2072304"/>
            <a:ext cx="7009425" cy="215285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dirty="0">
                <a:latin typeface="Bahnschrift SemiCondensed" panose="020B0502040204020203" pitchFamily="34" charset="0"/>
              </a:rPr>
              <a:t>3</a:t>
            </a:r>
            <a:r>
              <a:rPr lang="en-US" sz="6000" noProof="0" dirty="0">
                <a:latin typeface="Bahnschrift SemiCondensed" panose="020B0502040204020203" pitchFamily="34" charset="0"/>
              </a:rPr>
              <a:t>/5 - IMPLEMENTATION</a:t>
            </a:r>
            <a:endParaRPr lang="en-US" sz="6000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1D7EE7-F764-66DC-BA21-08782F5EB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366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37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705439BC-3A99-BE9C-24F1-68A309F82EDE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1</a:t>
            </a:r>
          </a:p>
        </p:txBody>
      </p:sp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40495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40579" y="139813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503612" y="1449161"/>
            <a:ext cx="567291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come in canonical forms [2].</a:t>
            </a:r>
            <a:endParaRPr lang="en-US" sz="2000" noProof="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972CDB-66E1-E8AE-5562-55DED34DE1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246" y="1945546"/>
            <a:ext cx="3651933" cy="132586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E18640B-A122-BC24-340F-B587470CFD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1161" y="2583765"/>
            <a:ext cx="3096995" cy="2145949"/>
          </a:xfrm>
          <a:prstGeom prst="rect">
            <a:avLst/>
          </a:prstGeom>
        </p:spPr>
      </p:pic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5" y="3450605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left-</a:t>
            </a:r>
            <a:r>
              <a:rPr lang="en-US" sz="2000" noProof="0" dirty="0">
                <a:latin typeface="Bahnschrift SemiCondensed" panose="020B0502040204020203" pitchFamily="34" charset="0"/>
              </a:rPr>
              <a:t>canonical form </a:t>
            </a:r>
            <a:r>
              <a:rPr lang="en-US" sz="2000" noProof="0" dirty="0" err="1">
                <a:latin typeface="Bahnschrift SemiCondensed" panose="020B0502040204020203" pitchFamily="34" charset="0"/>
              </a:rPr>
              <a:t>iff</a:t>
            </a:r>
            <a:r>
              <a:rPr lang="en-US" sz="2000" noProof="0" dirty="0">
                <a:latin typeface="Bahnschrift SemiCondensed" panose="020B0502040204020203" pitchFamily="34" charset="0"/>
              </a:rPr>
              <a:t>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922" y="379978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brought 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40578" y="561686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698868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s are MPOs </a:t>
            </a:r>
            <a:r>
              <a:rPr lang="en-US" sz="2000" noProof="0" dirty="0" err="1">
                <a:latin typeface="Bahnschrift SemiCondensed" panose="020B0502040204020203" pitchFamily="34" charset="0"/>
              </a:rPr>
              <a:t>s.t.</a:t>
            </a:r>
            <a:r>
              <a:rPr lang="en-US" sz="2000" noProof="0" dirty="0">
                <a:latin typeface="Bahnschrift SemiCondensed" panose="020B0502040204020203" pitchFamily="34" charset="0"/>
              </a:rPr>
              <a:t> merging physical legs yields MPSs in canonical forms!</a:t>
            </a:r>
            <a:endParaRPr lang="en-US" sz="2000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C9EDBB-5AE3-140C-377B-01A04F6E1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05F08-6C9B-6C7D-0CFC-80A227A7D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3250" y="1660635"/>
            <a:ext cx="7934335" cy="328973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dirty="0">
                <a:latin typeface="Bahnschrift SemiCondensed" panose="020B0502040204020203" pitchFamily="34" charset="0"/>
              </a:rPr>
              <a:t>4</a:t>
            </a:r>
            <a:r>
              <a:rPr lang="en-US" sz="6000" noProof="0" dirty="0">
                <a:latin typeface="Bahnschrift SemiCondensed" panose="020B0502040204020203" pitchFamily="34" charset="0"/>
              </a:rPr>
              <a:t>/5 – RESULTS FOR</a:t>
            </a:r>
            <a:br>
              <a:rPr lang="en-US" sz="6000" noProof="0" dirty="0">
                <a:latin typeface="Bahnschrift SemiCondensed" panose="020B0502040204020203" pitchFamily="34" charset="0"/>
              </a:rPr>
            </a:br>
            <a:r>
              <a:rPr lang="en-US" sz="6000" noProof="0" dirty="0">
                <a:latin typeface="Bahnschrift SemiCondensed" panose="020B0502040204020203" pitchFamily="34" charset="0"/>
              </a:rPr>
              <a:t>          THE 1D XY MODEL</a:t>
            </a:r>
            <a:endParaRPr lang="en-US" sz="6000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24146A-89BA-392A-A866-964D1AB3A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4583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05F08-6C9B-6C7D-0CFC-80A227A7D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967" y="1536276"/>
            <a:ext cx="7534943" cy="33405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dirty="0">
                <a:latin typeface="Bahnschrift SemiCondensed" panose="020B0502040204020203" pitchFamily="34" charset="0"/>
              </a:rPr>
              <a:t>5</a:t>
            </a:r>
            <a:r>
              <a:rPr lang="en-US" sz="6000" noProof="0" dirty="0">
                <a:latin typeface="Bahnschrift SemiCondensed" panose="020B0502040204020203" pitchFamily="34" charset="0"/>
              </a:rPr>
              <a:t>/5 – SUMMARY AND </a:t>
            </a:r>
            <a:br>
              <a:rPr lang="en-US" sz="6000" noProof="0" dirty="0">
                <a:latin typeface="Bahnschrift SemiCondensed" panose="020B0502040204020203" pitchFamily="34" charset="0"/>
              </a:rPr>
            </a:br>
            <a:r>
              <a:rPr lang="en-US" sz="6000" noProof="0" dirty="0">
                <a:latin typeface="Bahnschrift SemiCondensed" panose="020B0502040204020203" pitchFamily="34" charset="0"/>
              </a:rPr>
              <a:t>         CONCLUSIONS</a:t>
            </a:r>
            <a:endParaRPr lang="en-US" sz="6000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70C767-167F-83AA-FAC3-5EA9324B1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3874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727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/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5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78B55A-A4DB-FE0B-AFB9-848EF8D6B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0141C-773A-E3C0-03A6-469FA9B1E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OD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5D58D-24E9-B167-01EA-B6F2FE4C48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DE" dirty="0"/>
              <a:t>an add in line on entanglement how one represents mpos as mpss to get a notion of entanlgemnt</a:t>
            </a:r>
          </a:p>
          <a:p>
            <a:r>
              <a:rPr lang="en-GB" dirty="0"/>
              <a:t>D</a:t>
            </a:r>
            <a:r>
              <a:rPr lang="en-DE" dirty="0"/>
              <a:t>ouble check slide numbering</a:t>
            </a:r>
          </a:p>
          <a:p>
            <a:r>
              <a:rPr lang="en-GB" dirty="0"/>
              <a:t>A</a:t>
            </a:r>
            <a:r>
              <a:rPr lang="en-DE" dirty="0"/>
              <a:t>dd animations i.e. split slides into lay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4ADDAA-29A6-5996-92CD-C68EF6CB8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2829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05F08-6C9B-6C7D-0CFC-80A227A7D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1526" y="2208938"/>
            <a:ext cx="6704625" cy="182703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noProof="0" dirty="0">
                <a:latin typeface="Bahnschrift SemiCondensed" panose="020B0502040204020203" pitchFamily="34" charset="0"/>
              </a:rPr>
              <a:t>1/5 - INTRODUCTION</a:t>
            </a:r>
            <a:endParaRPr lang="en-US" sz="6000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41B917-4C16-4FEA-0D85-52AA007DF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9131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9" imgH="478" progId="TCLayout.ActiveDocument.1">
                  <p:embed/>
                </p:oleObj>
              </mc:Choice>
              <mc:Fallback>
                <p:oleObj name="think-cell Slide" r:id="rId1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/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69852" y="154888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869852" y="3187263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869852" y="448647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869852" y="5466288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ur 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268057" y="1545395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non-normalized thermal states            of 1D chain Hamiltonians at different inverse temperatures      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ly doubling     :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3278" y="1530367"/>
            <a:ext cx="558800" cy="26212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F1D9693-8069-B036-041C-5D408975351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5755" y="1912414"/>
            <a:ext cx="140208" cy="22758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64AA90B-EA8D-A7DE-FE33-E1C8B83558C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7453" y="1910424"/>
            <a:ext cx="140208" cy="22758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F39954A-1D05-1C34-84F8-04867F40CB8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1411" y="2435808"/>
            <a:ext cx="7788656" cy="32308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128" y="2446634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264590" y="3186488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with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 [1]</a:t>
            </a:r>
            <a:endParaRPr lang="en-US" sz="2000" noProof="0" dirty="0"/>
          </a:p>
        </p:txBody>
      </p:sp>
      <p:sp>
        <p:nvSpPr>
          <p:cNvPr id="32" name="Untertitel 2 3">
            <a:extLst>
              <a:ext uri="{FF2B5EF4-FFF2-40B4-BE49-F238E27FC236}">
                <a16:creationId xmlns:a16="http://schemas.microsoft.com/office/drawing/2014/main" id="{93DDCB61-0386-AFEA-D282-7A3D5A29AAAA}"/>
              </a:ext>
            </a:extLst>
          </p:cNvPr>
          <p:cNvSpPr txBox="1">
            <a:spLocks/>
          </p:cNvSpPr>
          <p:nvPr/>
        </p:nvSpPr>
        <p:spPr>
          <a:xfrm>
            <a:off x="8710814" y="6108023"/>
            <a:ext cx="4312403" cy="6382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5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5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500" dirty="0">
                <a:latin typeface="Bahnschrift SemiCondensed" panose="020B0502040204020203" pitchFamily="34" charset="0"/>
              </a:rPr>
              <a:t> (2018)</a:t>
            </a:r>
            <a:endParaRPr lang="en-US" sz="15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6006" y="3171204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83780" y="4492806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163" y="497369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264589" y="5561450"/>
            <a:ext cx="6791002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 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7200" y="5565829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6264" y="5919516"/>
            <a:ext cx="2708656" cy="227584"/>
          </a:xfrm>
          <a:prstGeom prst="rect">
            <a:avLst/>
          </a:prstGeom>
        </p:spPr>
      </p:pic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07614D73-1D31-6128-EE86-77DD5C926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1640" y="3007223"/>
            <a:ext cx="4752948" cy="145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Motivation</a:t>
            </a:r>
            <a:endParaRPr lang="en-US" sz="3200" noProof="0" dirty="0"/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21101" y="1460983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</a:t>
            </a: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03CA9E-570C-2A48-F474-CF8F6328A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837" y="1428847"/>
            <a:ext cx="4795249" cy="1451772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7" y="1455855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19904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675682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352105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714442" y="2335347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teps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670667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teps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535362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76518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62212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0725" y="4365090"/>
            <a:ext cx="487185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41897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6" y="5526789"/>
            <a:ext cx="8461798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.        . Often, one expects the change in entanglement to describe the change in physical regimes in a linear fashion. Then one should use 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0262" y="6135494"/>
            <a:ext cx="140208" cy="227584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F27CED8F-53A1-A84E-7568-1E01B708D517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5032" y="5582232"/>
            <a:ext cx="1182624" cy="25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9" imgH="478" progId="TCLayout.ActiveDocument.1">
                  <p:embed/>
                </p:oleObj>
              </mc:Choice>
              <mc:Fallback>
                <p:oleObj name="think-cell Slide" r:id="rId22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MP</a:t>
            </a:r>
            <a:r>
              <a:rPr lang="en-US" sz="3200" dirty="0" err="1">
                <a:latin typeface="Bahnschrift SemiCondensed" panose="020B0502040204020203" pitchFamily="34" charset="0"/>
              </a:rPr>
              <a:t>Os</a:t>
            </a:r>
            <a:r>
              <a:rPr lang="en-US" sz="3200" dirty="0">
                <a:latin typeface="Bahnschrift SemiCondensed" panose="020B0502040204020203" pitchFamily="34" charset="0"/>
              </a:rPr>
              <a:t> and truncations</a:t>
            </a:r>
            <a:endParaRPr lang="en-US" sz="3200" noProof="0" dirty="0"/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0151" y="1013215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580DED-C336-CDD2-B555-DC5BBD543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96887" y="6183944"/>
            <a:ext cx="2743200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3122022" y="1204208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schemes makes the necessar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s clearer. The thermal state will be represented as an MPO. 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76B3FA7-6838-00C2-A8D8-D136A689FD1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8222" y="2715062"/>
            <a:ext cx="1792224" cy="140614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3122021" y="2108031"/>
            <a:ext cx="37878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790151" y="2044979"/>
            <a:ext cx="2020106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and what</a:t>
            </a: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 to truncat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  <a:latin typeface="Bahnschrift SemiCondensed" panose="020B0502040204020203" pitchFamily="34" charset="0"/>
            </a:endParaRP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253" y="3735599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6672" y="3591952"/>
            <a:ext cx="2702973" cy="105850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0429" y="3735599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0556" y="3756895"/>
            <a:ext cx="2841613" cy="67428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213" y="384111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314" y="3602728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749" y="4073741"/>
            <a:ext cx="165371" cy="14470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119E20E-5D56-7BE9-F6FE-58870926F841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912" y="3989099"/>
            <a:ext cx="142978" cy="49956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785190" y="4788659"/>
            <a:ext cx="108038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As       grow in the XTRG algorithm,                     , the bond dim.      would increase as                    ,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 </a:t>
            </a:r>
            <a:r>
              <a:rPr lang="en-DE" dirty="0">
                <a:latin typeface="Bahnschrift SemiCondensed" panose="020B0502040204020203" pitchFamily="34" charset="0"/>
              </a:rPr>
              <a:t>in     . But the slow entanglement growth                         along with                        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. as               .           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888" y="4861603"/>
            <a:ext cx="987552" cy="22758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7CCCCB79-6660-064E-EBC7-CA23FFF87B38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2635" y="4871500"/>
            <a:ext cx="140208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159" y="4876943"/>
            <a:ext cx="195072" cy="170688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79FE9004-F3B2-0376-BE95-D66DFBF28AB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075" y="4820383"/>
            <a:ext cx="963168" cy="2905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123" y="4868526"/>
            <a:ext cx="140208" cy="227584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90166180-C1A5-AE41-19EF-A1C5DFF28D70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4547" y="5133535"/>
            <a:ext cx="1182624" cy="2540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29962554-C596-1311-9D4E-57293B9FA659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2219" y="5135046"/>
            <a:ext cx="1243584" cy="25400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023" y="5147009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547939" y="5730714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399182" y="5930463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1106" y="5840601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122528" y="5869603"/>
            <a:ext cx="83549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er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773" y="5953180"/>
            <a:ext cx="195072" cy="170688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2641619C-F3B3-1645-4614-5A9811EFBBB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0388" y="5869291"/>
            <a:ext cx="1418336" cy="323088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6153E645-E1A8-F4E8-6AC1-EF3DFF1535F1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715" y="5944634"/>
            <a:ext cx="180848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05F08-6C9B-6C7D-0CFC-80A227A7D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222" y="2220036"/>
            <a:ext cx="8533426" cy="222642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dirty="0">
                <a:latin typeface="Bahnschrift SemiCondensed" panose="020B0502040204020203" pitchFamily="34" charset="0"/>
              </a:rPr>
              <a:t>2</a:t>
            </a:r>
            <a:r>
              <a:rPr lang="en-US" sz="6000" noProof="0" dirty="0">
                <a:latin typeface="Bahnschrift SemiCondensed" panose="020B0502040204020203" pitchFamily="34" charset="0"/>
              </a:rPr>
              <a:t>/5 – ALGORITHM</a:t>
            </a:r>
            <a:endParaRPr lang="en-US" sz="6000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40886A-ACA8-326F-B07F-6E158FEC0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0866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9" imgH="478" progId="TCLayout.ActiveDocument.1">
                  <p:embed/>
                </p:oleObj>
              </mc:Choice>
              <mc:Fallback>
                <p:oleObj name="think-cell Slide" r:id="rId1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/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99765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F0E9A8-BDDB-BDF9-24AC-26B32164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808590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MPO for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375" y="1799765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9712" y="1879805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767548" y="2480917"/>
            <a:ext cx="1267108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84298"/>
            <a:ext cx="883466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1)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MPO representation of the     under consideration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2)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3)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,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 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the MPO for             with itself,                          . Reiterate at will, while storing values of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well as any other data of interest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488" y="2507224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5836" y="2956188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863333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378" y="3351783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3883" y="3263974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669555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0647" y="3623085"/>
            <a:ext cx="1330617" cy="521081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85377A5-9FDD-A15C-BF33-41A2AE46785C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5750" y="4473373"/>
            <a:ext cx="4291584" cy="323088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807" y="4233447"/>
            <a:ext cx="3459075" cy="914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28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Hamiltonian and initialization </a:t>
            </a:r>
            <a:endParaRPr lang="en-US" sz="3200" noProof="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6F1F6CC-B32D-EAE7-68D2-E7C98793A4B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84486" y="2285607"/>
            <a:ext cx="5260118" cy="704566"/>
          </a:xfrm>
          <a:prstGeom prst="rect">
            <a:avLst/>
          </a:prstGeom>
        </p:spPr>
      </p:pic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1013073" y="2427731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522363" y="3708635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507638" y="370863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3174" y="327852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21466" y="3167276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01081" y="4702233"/>
            <a:ext cx="9759159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, 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447" y="5239264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669" y="4726396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522358" y="5837615"/>
            <a:ext cx="8664639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with an MPO with bond dimension 5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5500" y="5861457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656" y="5870600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418" y="6156722"/>
            <a:ext cx="917334" cy="28800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0996F89-9AC1-A22A-2E12-0FD984AC4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667401" y="4517462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</a:t>
            </a:r>
            <a:r>
              <a:rPr lang="en-US" sz="24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</a:t>
            </a:r>
            <a:r>
              <a:rPr lang="en-US" sz="2400" noProof="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3833"/>
  <p:tag name="OUTPUTTYPE" val="PNG"/>
  <p:tag name="IGUANATEXVERSION" val="162"/>
  <p:tag name="LATEXADDIN" val="\documentclass{article}&#10;\usepackage{amsmath}&#10;\pagestyle{empty}&#10;\begin{document}&#10;&#10;$\hat{\rho}(\beta_0) \propto  \text{e}^{\beta_0 \hat{H}} \longrightarrow \hat{\rho}(2 \beta_0) \propto  \text{e}^{2 \beta_0 \hat{H}} \longrightarrow \ldots \longrightarrow\hat{\rho}(2^n \beta_0) \propto  \text{e}^{2^n \beta_0 \hat{H}} \longrightarrow \ldots$&#10;&#10;&#10;\end{document}"/>
  <p:tag name="IGUANATEXSIZE" val="20"/>
  <p:tag name="IGUANATEXCURSOR" val="32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82"/>
  <p:tag name="OUTPUTTYPE" val="PNG"/>
  <p:tag name="IGUANATEXVERSION" val="162"/>
  <p:tag name="LATEXADDIN" val="\documentclass{article}&#10;\usepackage{amsmath}&#10;\pagestyle{empty}&#10;\begin{document}&#10;&#10;$ E \sim \log(\beta)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692"/>
  <p:tag name="ORIGINALWIDTH" val=" 882"/>
  <p:tag name="OUTPUTTYPE" val="PNG"/>
  <p:tag name="IGUANATEXVERSION" val="162"/>
  <p:tag name="LATEXADDIN" val="\documentclass{article}&#10;\usepackage{amsmath}&#10;\pagestyle{empty}&#10;\begin{document}&#10;&#10;\begin{align*}&#10;&#9;\beta &amp;\longrightarrow 2 \beta \\&#10;&#9;\text{e}^{- \beta \hat{H}} &amp;\longrightarrow \text{e}^{- 2 \beta \hat{H}}\\&amp;\\&#10;&#9;&amp; \longrightarrow&#10;\end{align*}&#10;&#10;&#10;\end{document}"/>
  <p:tag name="IGUANATEXSIZE" val="20"/>
  <p:tag name="IGUANATEXCURSOR" val="20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9"/>
  <p:tag name="ORIGINALWIDTH" val=" 83"/>
  <p:tag name="OUTPUTTYPE" val="PNG"/>
  <p:tag name="IGUANATEXVERSION" val="162"/>
  <p:tag name="LATEXADDIN" val="\documentclass{article}&#10;\usepackage{amsmath}&#10;\pagestyle{empty}&#10;\begin{document}&#10;&#10;&#10;$=$&#10;&#10;\end{document}"/>
  <p:tag name="IGUANATEXSIZE" val="20"/>
  <p:tag name="IGUANATEXCURSOR" val="8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82"/>
  <p:tag name="OUTPUTTYPE" val="PNG"/>
  <p:tag name="IGUANATEXVERSION" val="162"/>
  <p:tag name="LATEXADDIN" val="\documentclass{article}&#10;\usepackage{amsmath}&#10;\pagestyle{empty}&#10;\begin{document}&#10;&#10;$ E \sim \log(\beta)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12"/>
  <p:tag name="OUTPUTTYPE" val="PNG"/>
  <p:tag name="IGUANATEXVERSION" val="162"/>
  <p:tag name="LATEXADDIN" val="\documentclass{article}&#10;\usepackage{amsmath}&#10;\pagestyle{empty}&#10;\begin{document}&#10;&#10;$ E \sim \log(D)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698"/>
  <p:tag name="OUTPUTTYPE" val="PNG"/>
  <p:tag name="IGUANATEXVERSION" val="162"/>
  <p:tag name="LATEXADDIN" val="\documentclass{article}&#10;\usepackage{amsmath}&#10;\pagestyle{empty}&#10;\begin{document}&#10;&#10;$|| C - \text{e}^{- 2 \beta \hat{H}} || 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"/>
  <p:tag name="ORIGINALWIDTH" val=" 89"/>
  <p:tag name="OUTPUTTYPE" val="PNG"/>
  <p:tag name="IGUANATEXVERSION" val="162"/>
  <p:tag name="LATEXADDIN" val="\documentclass{article}&#10;\usepackage{amsmath}&#10;\pagestyle{empty}&#10;\begin{document}&#10;&#10;$C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2112"/>
  <p:tag name="OUTPUTTYPE" val="PNG"/>
  <p:tag name="IGUANATEXVERSION" val="162"/>
  <p:tag name="LATEXADDIN" val="\documentclass{article}&#10;\usepackage{amsmath}&#10;\pagestyle{empty}&#10;\begin{document}&#10;&#10;&#10;$\beta = 2^n \beta_0, \;\;\;\; \hat{\rho}_{MPO}, \;\;\;\;  Z = \text{Tr}(\text{e}^{ - \beta \hat{H}}) = $&#10;&#10;\end{document}"/>
  <p:tag name="IGUANATEXSIZE" val="20"/>
  <p:tag name="IGUANATEXCURSOR" val="1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"/>
  <p:tag name="ORIGINALWIDTH" val=" 1133"/>
  <p:tag name="OUTPUTTYPE" val="PNG"/>
  <p:tag name="IGUANATEXVERSION" val="162"/>
  <p:tag name="LATEXADDIN" val="\documentclass{article}&#10;\usepackage{amsmath}&#10;\pagestyle{empty}&#10;\begin{document}&#10;&#10;&#10;$||\hat{C} - \text{e}^{-2 \beta \hat{H}} ||_{\text{Frobenius}}^2$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684"/>
  <p:tag name="OUTPUTTYPE" val="PNG"/>
  <p:tag name="IGUANATEXVERSION" val="162"/>
  <p:tag name="LATEXADDIN" val="\documentclass{article}&#10;\usepackage{amsmath}&#10;\pagestyle{empty}&#10;\begin{document}&#10;&#10;$\text{e}^{-  \beta \hat{H}}, D_{max} ) $&#10;&#10;&#10;\end{document}"/>
  <p:tag name="IGUANATEXSIZE" val="20"/>
  <p:tag name="IGUANATEXCURSOR" val="12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435"/>
  <p:tag name="OUTPUTTYPE" val="PNG"/>
  <p:tag name="IGUANATEXVERSION" val="162"/>
  <p:tag name="LATEXADDIN" val="\documentclass{article}&#10;\usepackage{amsmath}&#10;\pagestyle{empty}&#10;\begin{document}&#10;&#10;$\max(\alpha \times$&#10;&#10;&#10;\end{document}"/>
  <p:tag name="IGUANATEXSIZE" val="20"/>
  <p:tag name="IGUANATEXCURSOR" val="10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320"/>
  <p:tag name="OUTPUTTYPE" val="PNG"/>
  <p:tag name="IGUANATEXVERSION" val="162"/>
  <p:tag name="LATEXADDIN" val="\documentclass{article}&#10;\usepackage{amsmath}&#10;\pagestyle{empty}&#10;\begin{document}&#10;&#10;$\hat{C} \longrightarrow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0</TotalTime>
  <Words>930</Words>
  <Application>Microsoft Macintosh PowerPoint</Application>
  <PresentationFormat>Widescreen</PresentationFormat>
  <Paragraphs>124</Paragraphs>
  <Slides>16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ptos</vt:lpstr>
      <vt:lpstr>Aptos Display</vt:lpstr>
      <vt:lpstr>Arial</vt:lpstr>
      <vt:lpstr>Bahnschrift SemiCondensed</vt:lpstr>
      <vt:lpstr>Office Theme</vt:lpstr>
      <vt:lpstr>think-cell Slide</vt:lpstr>
      <vt:lpstr>The Thermal Tensor Network Renormalization Group (XTRG)</vt:lpstr>
      <vt:lpstr>TODO</vt:lpstr>
      <vt:lpstr>1/5 - INTRODUCTION</vt:lpstr>
      <vt:lpstr>PowerPoint Presentation</vt:lpstr>
      <vt:lpstr>PowerPoint Presentation</vt:lpstr>
      <vt:lpstr>PowerPoint Presentation</vt:lpstr>
      <vt:lpstr>2/5 – ALGORITHM</vt:lpstr>
      <vt:lpstr>PowerPoint Presentation</vt:lpstr>
      <vt:lpstr>PowerPoint Presentation</vt:lpstr>
      <vt:lpstr>PowerPoint Presentation</vt:lpstr>
      <vt:lpstr>PowerPoint Presentation</vt:lpstr>
      <vt:lpstr>3/5 - IMPLEMENTATION</vt:lpstr>
      <vt:lpstr>PowerPoint Presentation</vt:lpstr>
      <vt:lpstr>4/5 – RESULTS FOR           THE 1D XY MODEL</vt:lpstr>
      <vt:lpstr>5/5 – SUMMARY AND           CONCLUS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hermal Tensor Network Renormalization Group (XTRG)</dc:title>
  <dc:creator>Matthias Pawlik</dc:creator>
  <cp:lastModifiedBy>Aliverti-Piuri, Damiano</cp:lastModifiedBy>
  <cp:revision>42</cp:revision>
  <dcterms:created xsi:type="dcterms:W3CDTF">2025-06-15T15:29:23Z</dcterms:created>
  <dcterms:modified xsi:type="dcterms:W3CDTF">2025-07-17T18:59:17Z</dcterms:modified>
</cp:coreProperties>
</file>